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56" r:id="rId5"/>
    <p:sldId id="296" r:id="rId6"/>
    <p:sldId id="297" r:id="rId7"/>
    <p:sldId id="258" r:id="rId8"/>
    <p:sldId id="257" r:id="rId9"/>
    <p:sldId id="304" r:id="rId10"/>
    <p:sldId id="298" r:id="rId11"/>
    <p:sldId id="299" r:id="rId12"/>
    <p:sldId id="308" r:id="rId13"/>
    <p:sldId id="303" r:id="rId14"/>
    <p:sldId id="302" r:id="rId15"/>
    <p:sldId id="269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4E52"/>
    <a:srgbClr val="067F9C"/>
    <a:srgbClr val="01C6FD"/>
    <a:srgbClr val="79AE02"/>
    <a:srgbClr val="0C596D"/>
    <a:srgbClr val="03556D"/>
    <a:srgbClr val="145C72"/>
    <a:srgbClr val="0000A4"/>
    <a:srgbClr val="1ABEEB"/>
    <a:srgbClr val="1DA9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56" d="100"/>
          <a:sy n="56" d="100"/>
        </p:scale>
        <p:origin x="18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9" d="100"/>
          <a:sy n="99" d="100"/>
        </p:scale>
        <p:origin x="3216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6876A3F-4FE3-4D4F-B92F-1631838507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4516C7-1FF3-F44B-93B1-24B9AA324A7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34C92B-6A45-864A-B429-22A9039765DA}" type="datetimeFigureOut">
              <a:rPr lang="en-US" smtClean="0"/>
              <a:t>5/22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C6268A-8AA9-4C40-BEFB-029DF3E811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E928AC-AE76-324A-BA05-D16BF60C79E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2C3C4-9460-4343-9283-24A378E2714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5489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265FE6-BEE9-465E-9202-2D200EDE749C}" type="datetimeFigureOut">
              <a:rPr lang="en-GB" smtClean="0"/>
              <a:t>22/05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DE8F2A-B3D4-43F2-B39B-CD77F64A195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61779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8B934246-87B1-4444-9DCA-06622CAD550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23992" y="124953"/>
            <a:ext cx="11944014" cy="4372387"/>
          </a:xfrm>
          <a:custGeom>
            <a:avLst/>
            <a:gdLst>
              <a:gd name="connsiteX0" fmla="*/ 0 w 11944014"/>
              <a:gd name="connsiteY0" fmla="*/ 0 h 4372387"/>
              <a:gd name="connsiteX1" fmla="*/ 11944014 w 11944014"/>
              <a:gd name="connsiteY1" fmla="*/ 0 h 4372387"/>
              <a:gd name="connsiteX2" fmla="*/ 11944014 w 11944014"/>
              <a:gd name="connsiteY2" fmla="*/ 4064314 h 4372387"/>
              <a:gd name="connsiteX3" fmla="*/ 11419539 w 11944014"/>
              <a:gd name="connsiteY3" fmla="*/ 4152711 h 4372387"/>
              <a:gd name="connsiteX4" fmla="*/ 4857299 w 11944014"/>
              <a:gd name="connsiteY4" fmla="*/ 3772522 h 4372387"/>
              <a:gd name="connsiteX5" fmla="*/ 510557 w 11944014"/>
              <a:gd name="connsiteY5" fmla="*/ 3115117 h 4372387"/>
              <a:gd name="connsiteX6" fmla="*/ 0 w 11944014"/>
              <a:gd name="connsiteY6" fmla="*/ 3085767 h 437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44014" h="4372387">
                <a:moveTo>
                  <a:pt x="0" y="0"/>
                </a:moveTo>
                <a:lnTo>
                  <a:pt x="11944014" y="0"/>
                </a:lnTo>
                <a:lnTo>
                  <a:pt x="11944014" y="4064314"/>
                </a:lnTo>
                <a:lnTo>
                  <a:pt x="11419539" y="4152711"/>
                </a:lnTo>
                <a:cubicBezTo>
                  <a:pt x="10120431" y="4379826"/>
                  <a:pt x="8581267" y="4634432"/>
                  <a:pt x="4857299" y="3772522"/>
                </a:cubicBezTo>
                <a:cubicBezTo>
                  <a:pt x="3261016" y="3403063"/>
                  <a:pt x="1951876" y="3212078"/>
                  <a:pt x="510557" y="3115117"/>
                </a:cubicBezTo>
                <a:lnTo>
                  <a:pt x="0" y="308576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E99C6B2-05CE-48A7-8696-CEC64BE74DF5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custGeom>
            <a:avLst/>
            <a:gdLst>
              <a:gd name="connsiteX0" fmla="*/ 123993 w 12192001"/>
              <a:gd name="connsiteY0" fmla="*/ 123993 h 6858000"/>
              <a:gd name="connsiteX1" fmla="*/ 123993 w 12192001"/>
              <a:gd name="connsiteY1" fmla="*/ 3209760 h 6858000"/>
              <a:gd name="connsiteX2" fmla="*/ 634550 w 12192001"/>
              <a:gd name="connsiteY2" fmla="*/ 3239110 h 6858000"/>
              <a:gd name="connsiteX3" fmla="*/ 4981292 w 12192001"/>
              <a:gd name="connsiteY3" fmla="*/ 3896515 h 6858000"/>
              <a:gd name="connsiteX4" fmla="*/ 11543532 w 12192001"/>
              <a:gd name="connsiteY4" fmla="*/ 4276704 h 6858000"/>
              <a:gd name="connsiteX5" fmla="*/ 12068007 w 12192001"/>
              <a:gd name="connsiteY5" fmla="*/ 4188307 h 6858000"/>
              <a:gd name="connsiteX6" fmla="*/ 12068007 w 12192001"/>
              <a:gd name="connsiteY6" fmla="*/ 123993 h 6858000"/>
              <a:gd name="connsiteX7" fmla="*/ 0 w 12192001"/>
              <a:gd name="connsiteY7" fmla="*/ 0 h 6858000"/>
              <a:gd name="connsiteX8" fmla="*/ 12192000 w 12192001"/>
              <a:gd name="connsiteY8" fmla="*/ 0 h 6858000"/>
              <a:gd name="connsiteX9" fmla="*/ 12192000 w 12192001"/>
              <a:gd name="connsiteY9" fmla="*/ 4167393 h 6858000"/>
              <a:gd name="connsiteX10" fmla="*/ 12192001 w 12192001"/>
              <a:gd name="connsiteY10" fmla="*/ 4167393 h 6858000"/>
              <a:gd name="connsiteX11" fmla="*/ 12192001 w 12192001"/>
              <a:gd name="connsiteY11" fmla="*/ 4799849 h 6858000"/>
              <a:gd name="connsiteX12" fmla="*/ 12192001 w 12192001"/>
              <a:gd name="connsiteY12" fmla="*/ 4950491 h 6858000"/>
              <a:gd name="connsiteX13" fmla="*/ 12192001 w 12192001"/>
              <a:gd name="connsiteY13" fmla="*/ 6858000 h 6858000"/>
              <a:gd name="connsiteX14" fmla="*/ 12192000 w 12192001"/>
              <a:gd name="connsiteY14" fmla="*/ 6858000 h 6858000"/>
              <a:gd name="connsiteX15" fmla="*/ 1 w 12192001"/>
              <a:gd name="connsiteY15" fmla="*/ 6858000 h 6858000"/>
              <a:gd name="connsiteX16" fmla="*/ 0 w 12192001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1" h="6858000">
                <a:moveTo>
                  <a:pt x="123993" y="123993"/>
                </a:moveTo>
                <a:lnTo>
                  <a:pt x="123993" y="3209760"/>
                </a:lnTo>
                <a:lnTo>
                  <a:pt x="634550" y="3239110"/>
                </a:lnTo>
                <a:cubicBezTo>
                  <a:pt x="2075869" y="3336071"/>
                  <a:pt x="3385009" y="3527056"/>
                  <a:pt x="4981292" y="3896515"/>
                </a:cubicBezTo>
                <a:cubicBezTo>
                  <a:pt x="8705260" y="4758425"/>
                  <a:pt x="10244424" y="4503819"/>
                  <a:pt x="11543532" y="4276704"/>
                </a:cubicBezTo>
                <a:lnTo>
                  <a:pt x="12068007" y="4188307"/>
                </a:lnTo>
                <a:lnTo>
                  <a:pt x="12068007" y="12399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167393"/>
                </a:lnTo>
                <a:lnTo>
                  <a:pt x="12192001" y="4167393"/>
                </a:lnTo>
                <a:lnTo>
                  <a:pt x="12192001" y="4799849"/>
                </a:lnTo>
                <a:lnTo>
                  <a:pt x="12192001" y="4950491"/>
                </a:lnTo>
                <a:lnTo>
                  <a:pt x="12192001" y="6858000"/>
                </a:lnTo>
                <a:lnTo>
                  <a:pt x="12192000" y="6858000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04841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48876"/>
            <a:ext cx="12192000" cy="2119313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240" y="3802065"/>
            <a:ext cx="9784080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40" y="4294303"/>
            <a:ext cx="9784080" cy="1737360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951AB2-D568-4A7E-9408-FADC8BED4119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1479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48876"/>
            <a:ext cx="12192000" cy="2119313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240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23026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8664829-F6FB-4E31-BF5C-C895ADF2BA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5999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5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40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3026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7E9E558E-F7EF-4347-AD3C-FDB2A9BCF6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35999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AD2AC4-32E8-BC46-848C-BEA37118C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4481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679784BB-7CDD-484B-8F47-9CF1D79993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99200" y="0"/>
            <a:ext cx="58928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493776"/>
            <a:ext cx="5170715" cy="1089529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499" y="2061165"/>
            <a:ext cx="5045529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499" y="2708227"/>
            <a:ext cx="5045529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6A75B6-7B4E-496F-A846-0FFBB6E1D164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648ACB4-9C22-4636-800F-578055A5BC10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8724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Document 3">
            <a:extLst>
              <a:ext uri="{FF2B5EF4-FFF2-40B4-BE49-F238E27FC236}">
                <a16:creationId xmlns:a16="http://schemas.microsoft.com/office/drawing/2014/main" id="{D5C833BC-89A8-4D28-9D63-F45F14D694BF}"/>
              </a:ext>
            </a:extLst>
          </p:cNvPr>
          <p:cNvSpPr/>
          <p:nvPr userDrawn="1"/>
        </p:nvSpPr>
        <p:spPr>
          <a:xfrm flipH="1">
            <a:off x="123987" y="124955"/>
            <a:ext cx="11953415" cy="4408002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17" h="24785">
                <a:moveTo>
                  <a:pt x="17" y="0"/>
                </a:moveTo>
                <a:lnTo>
                  <a:pt x="21617" y="0"/>
                </a:lnTo>
                <a:lnTo>
                  <a:pt x="21617" y="17322"/>
                </a:lnTo>
                <a:cubicBezTo>
                  <a:pt x="10919" y="19230"/>
                  <a:pt x="10221" y="28798"/>
                  <a:pt x="0" y="22875"/>
                </a:cubicBezTo>
                <a:cubicBezTo>
                  <a:pt x="6" y="15250"/>
                  <a:pt x="11" y="7625"/>
                  <a:pt x="1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22404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lowchart: Document 3">
            <a:extLst>
              <a:ext uri="{FF2B5EF4-FFF2-40B4-BE49-F238E27FC236}">
                <a16:creationId xmlns:a16="http://schemas.microsoft.com/office/drawing/2014/main" id="{7F75D8AF-79DE-4E2B-A15F-8EC66948BC31}"/>
              </a:ext>
            </a:extLst>
          </p:cNvPr>
          <p:cNvSpPr/>
          <p:nvPr userDrawn="1"/>
        </p:nvSpPr>
        <p:spPr>
          <a:xfrm flipH="1" flipV="1">
            <a:off x="114590" y="4581492"/>
            <a:ext cx="11962815" cy="2152681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  <a:gd name="connsiteX0" fmla="*/ 34 w 21634"/>
              <a:gd name="connsiteY0" fmla="*/ 0 h 36778"/>
              <a:gd name="connsiteX1" fmla="*/ 21634 w 21634"/>
              <a:gd name="connsiteY1" fmla="*/ 0 h 36778"/>
              <a:gd name="connsiteX2" fmla="*/ 21634 w 21634"/>
              <a:gd name="connsiteY2" fmla="*/ 17322 h 36778"/>
              <a:gd name="connsiteX3" fmla="*/ 0 w 21634"/>
              <a:gd name="connsiteY3" fmla="*/ 35787 h 36778"/>
              <a:gd name="connsiteX4" fmla="*/ 34 w 21634"/>
              <a:gd name="connsiteY4" fmla="*/ 0 h 36778"/>
              <a:gd name="connsiteX0" fmla="*/ 34 w 21634"/>
              <a:gd name="connsiteY0" fmla="*/ 0 h 41874"/>
              <a:gd name="connsiteX1" fmla="*/ 21634 w 21634"/>
              <a:gd name="connsiteY1" fmla="*/ 0 h 41874"/>
              <a:gd name="connsiteX2" fmla="*/ 21634 w 21634"/>
              <a:gd name="connsiteY2" fmla="*/ 17322 h 41874"/>
              <a:gd name="connsiteX3" fmla="*/ 0 w 21634"/>
              <a:gd name="connsiteY3" fmla="*/ 35787 h 41874"/>
              <a:gd name="connsiteX4" fmla="*/ 34 w 21634"/>
              <a:gd name="connsiteY4" fmla="*/ 0 h 41874"/>
              <a:gd name="connsiteX0" fmla="*/ 34 w 21634"/>
              <a:gd name="connsiteY0" fmla="*/ 0 h 42123"/>
              <a:gd name="connsiteX1" fmla="*/ 21634 w 21634"/>
              <a:gd name="connsiteY1" fmla="*/ 0 h 42123"/>
              <a:gd name="connsiteX2" fmla="*/ 21634 w 21634"/>
              <a:gd name="connsiteY2" fmla="*/ 17322 h 42123"/>
              <a:gd name="connsiteX3" fmla="*/ 0 w 21634"/>
              <a:gd name="connsiteY3" fmla="*/ 35787 h 42123"/>
              <a:gd name="connsiteX4" fmla="*/ 34 w 21634"/>
              <a:gd name="connsiteY4" fmla="*/ 0 h 4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34" h="42123">
                <a:moveTo>
                  <a:pt x="34" y="0"/>
                </a:moveTo>
                <a:lnTo>
                  <a:pt x="21634" y="0"/>
                </a:lnTo>
                <a:lnTo>
                  <a:pt x="21634" y="17322"/>
                </a:lnTo>
                <a:cubicBezTo>
                  <a:pt x="10970" y="21444"/>
                  <a:pt x="9198" y="56098"/>
                  <a:pt x="0" y="35787"/>
                </a:cubicBezTo>
                <a:cubicBezTo>
                  <a:pt x="6" y="28162"/>
                  <a:pt x="28" y="7625"/>
                  <a:pt x="3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Section Header 1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 userDrawn="1"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3D7B7-CDD7-4664-B2D8-6F60FEAEAC45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E81145E-5F17-4CB6-9E17-ECF3BB38DE75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tx1"/>
                </a:solidFill>
              </a:rPr>
              <a:pPr/>
              <a:t>‹#›</a:t>
            </a:fld>
            <a:endParaRPr lang="en-GB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2193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8E3AAF-44AA-41E0-AE18-8B461598AD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6314" y="1825625"/>
            <a:ext cx="5306787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C1B8B60-5429-4EF9-93D0-2CCCF562B9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8900" y="1825625"/>
            <a:ext cx="5181600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47009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00215"/>
            <a:ext cx="3932237" cy="15571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6692B7-0F8A-4381-96B4-5F358BFD1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43535EE-90E2-422C-B7AC-4D346E8D6E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500215"/>
            <a:ext cx="6172200" cy="536877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64241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00215"/>
            <a:ext cx="3932237" cy="15571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6692B7-0F8A-4381-96B4-5F358BFD1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131CB29F-0BE0-476F-B57A-7638E9BFAE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500215"/>
            <a:ext cx="6172200" cy="536877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9964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34329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E46C0F6-F728-4FF0-A7F3-F6AECCD35B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0650" y="136525"/>
            <a:ext cx="11950700" cy="6584951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DAD220-8CE3-4FF4-957A-1E24442C65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87500" y="4022725"/>
            <a:ext cx="10033000" cy="1236236"/>
          </a:xfrm>
          <a:solidFill>
            <a:schemeClr val="tx1">
              <a:alpha val="68000"/>
            </a:schemeClr>
          </a:solidFill>
        </p:spPr>
        <p:txBody>
          <a:bodyPr lIns="274320" tIns="274320" rIns="274320" bIns="274320" anchor="ctr">
            <a:sp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8FDDD78-44AA-4B92-90B8-DFC56D688C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6550" y="3269342"/>
            <a:ext cx="1155366" cy="2576090"/>
          </a:xfrm>
          <a:noFill/>
        </p:spPr>
        <p:txBody>
          <a:bodyPr wrap="square" lIns="182880" tIns="182880" rIns="182880" bIns="91440">
            <a:spAutoFit/>
          </a:bodyPr>
          <a:lstStyle>
            <a:lvl1pPr marL="0" indent="0">
              <a:buNone/>
              <a:defRPr sz="16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9" name="Frame 8">
            <a:extLst>
              <a:ext uri="{FF2B5EF4-FFF2-40B4-BE49-F238E27FC236}">
                <a16:creationId xmlns:a16="http://schemas.microsoft.com/office/drawing/2014/main" id="{0283712C-6C33-4303-985C-6493AAFAF40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93B617-BDEC-4471-BF16-3ADF8D92DD69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3D238BD-C38B-4BEB-92A5-657AAB9C5351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E81040-AE93-4763-96F3-062F0F2D8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0143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314F9CD-0693-4A94-A67A-F71413300A6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39624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3"/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386286-CEE2-E94A-BBC0-0A3723EB14DE}"/>
              </a:ext>
            </a:extLst>
          </p:cNvPr>
          <p:cNvSpPr/>
          <p:nvPr userDrawn="1"/>
        </p:nvSpPr>
        <p:spPr>
          <a:xfrm>
            <a:off x="11008895" y="6220326"/>
            <a:ext cx="866273" cy="6376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7571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7C719AD2-39D2-425C-90E5-8FD2D783AD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4907643" cy="701731"/>
          </a:xfrm>
        </p:spPr>
        <p:txBody>
          <a:bodyPr vert="horz" wrap="square" lIns="91440" tIns="45720" rIns="91440" bIns="45720" rtlCol="0" anchor="b">
            <a:spAutoFit/>
          </a:bodyPr>
          <a:lstStyle>
            <a:lvl1pPr>
              <a:defRPr lang="en-GB" sz="4400" b="1" spc="-15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4192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D24BA90-E7BA-471E-AA13-3329EDCD80A2}"/>
              </a:ext>
            </a:extLst>
          </p:cNvPr>
          <p:cNvSpPr/>
          <p:nvPr userDrawn="1"/>
        </p:nvSpPr>
        <p:spPr>
          <a:xfrm flipV="1">
            <a:off x="-1" y="-3"/>
            <a:ext cx="12192001" cy="6858003"/>
          </a:xfrm>
          <a:custGeom>
            <a:avLst/>
            <a:gdLst>
              <a:gd name="connsiteX0" fmla="*/ 9171734 w 12192001"/>
              <a:gd name="connsiteY0" fmla="*/ 2269381 h 6858003"/>
              <a:gd name="connsiteX1" fmla="*/ 4981292 w 12192001"/>
              <a:gd name="connsiteY1" fmla="*/ 1670903 h 6858003"/>
              <a:gd name="connsiteX2" fmla="*/ 634550 w 12192001"/>
              <a:gd name="connsiteY2" fmla="*/ 1013497 h 6858003"/>
              <a:gd name="connsiteX3" fmla="*/ 123993 w 12192001"/>
              <a:gd name="connsiteY3" fmla="*/ 984148 h 6858003"/>
              <a:gd name="connsiteX4" fmla="*/ 123993 w 12192001"/>
              <a:gd name="connsiteY4" fmla="*/ 123993 h 6858003"/>
              <a:gd name="connsiteX5" fmla="*/ 12068007 w 12192001"/>
              <a:gd name="connsiteY5" fmla="*/ 123993 h 6858003"/>
              <a:gd name="connsiteX6" fmla="*/ 12068007 w 12192001"/>
              <a:gd name="connsiteY6" fmla="*/ 1962695 h 6858003"/>
              <a:gd name="connsiteX7" fmla="*/ 11543532 w 12192001"/>
              <a:gd name="connsiteY7" fmla="*/ 2051091 h 6858003"/>
              <a:gd name="connsiteX8" fmla="*/ 9171734 w 12192001"/>
              <a:gd name="connsiteY8" fmla="*/ 2269381 h 6858003"/>
              <a:gd name="connsiteX9" fmla="*/ 1 w 12192001"/>
              <a:gd name="connsiteY9" fmla="*/ 6858003 h 6858003"/>
              <a:gd name="connsiteX10" fmla="*/ 12192001 w 12192001"/>
              <a:gd name="connsiteY10" fmla="*/ 6858003 h 6858003"/>
              <a:gd name="connsiteX11" fmla="*/ 12192001 w 12192001"/>
              <a:gd name="connsiteY11" fmla="*/ 2724879 h 6858003"/>
              <a:gd name="connsiteX12" fmla="*/ 12192001 w 12192001"/>
              <a:gd name="connsiteY12" fmla="*/ 2477360 h 6858003"/>
              <a:gd name="connsiteX13" fmla="*/ 12192001 w 12192001"/>
              <a:gd name="connsiteY13" fmla="*/ 1941781 h 6858003"/>
              <a:gd name="connsiteX14" fmla="*/ 12192000 w 12192001"/>
              <a:gd name="connsiteY14" fmla="*/ 1941781 h 6858003"/>
              <a:gd name="connsiteX15" fmla="*/ 12192000 w 12192001"/>
              <a:gd name="connsiteY15" fmla="*/ 0 h 6858003"/>
              <a:gd name="connsiteX16" fmla="*/ 0 w 12192001"/>
              <a:gd name="connsiteY16" fmla="*/ 0 h 6858003"/>
              <a:gd name="connsiteX17" fmla="*/ 0 w 12192001"/>
              <a:gd name="connsiteY17" fmla="*/ 6858000 h 6858003"/>
              <a:gd name="connsiteX18" fmla="*/ 1 w 12192001"/>
              <a:gd name="connsiteY18" fmla="*/ 6858000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1" h="6858003">
                <a:moveTo>
                  <a:pt x="9171734" y="2269381"/>
                </a:moveTo>
                <a:cubicBezTo>
                  <a:pt x="8159059" y="2253684"/>
                  <a:pt x="6843276" y="2101858"/>
                  <a:pt x="4981292" y="1670903"/>
                </a:cubicBezTo>
                <a:cubicBezTo>
                  <a:pt x="3385010" y="1301444"/>
                  <a:pt x="2075869" y="1110459"/>
                  <a:pt x="634550" y="1013497"/>
                </a:cubicBezTo>
                <a:lnTo>
                  <a:pt x="123993" y="984148"/>
                </a:lnTo>
                <a:lnTo>
                  <a:pt x="123993" y="123993"/>
                </a:lnTo>
                <a:lnTo>
                  <a:pt x="12068007" y="123993"/>
                </a:lnTo>
                <a:lnTo>
                  <a:pt x="12068007" y="1962695"/>
                </a:lnTo>
                <a:lnTo>
                  <a:pt x="11543532" y="2051091"/>
                </a:lnTo>
                <a:cubicBezTo>
                  <a:pt x="10893978" y="2164649"/>
                  <a:pt x="10184410" y="2285079"/>
                  <a:pt x="9171734" y="2269381"/>
                </a:cubicBezTo>
                <a:close/>
                <a:moveTo>
                  <a:pt x="1" y="6858003"/>
                </a:moveTo>
                <a:lnTo>
                  <a:pt x="12192001" y="6858003"/>
                </a:lnTo>
                <a:lnTo>
                  <a:pt x="12192001" y="2724879"/>
                </a:lnTo>
                <a:lnTo>
                  <a:pt x="12192001" y="2477360"/>
                </a:lnTo>
                <a:lnTo>
                  <a:pt x="12192001" y="1941781"/>
                </a:lnTo>
                <a:lnTo>
                  <a:pt x="12192000" y="1941781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lnTo>
                  <a:pt x="1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467520A-F508-4AA5-BBCF-30AE2B312E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3992" y="4587876"/>
            <a:ext cx="11944014" cy="2146775"/>
          </a:xfrm>
          <a:custGeom>
            <a:avLst/>
            <a:gdLst>
              <a:gd name="connsiteX0" fmla="*/ 9047741 w 11944014"/>
              <a:gd name="connsiteY0" fmla="*/ 1387 h 2146775"/>
              <a:gd name="connsiteX1" fmla="*/ 11419539 w 11944014"/>
              <a:gd name="connsiteY1" fmla="*/ 219677 h 2146775"/>
              <a:gd name="connsiteX2" fmla="*/ 11944014 w 11944014"/>
              <a:gd name="connsiteY2" fmla="*/ 308073 h 2146775"/>
              <a:gd name="connsiteX3" fmla="*/ 11944014 w 11944014"/>
              <a:gd name="connsiteY3" fmla="*/ 2146775 h 2146775"/>
              <a:gd name="connsiteX4" fmla="*/ 0 w 11944014"/>
              <a:gd name="connsiteY4" fmla="*/ 2146775 h 2146775"/>
              <a:gd name="connsiteX5" fmla="*/ 0 w 11944014"/>
              <a:gd name="connsiteY5" fmla="*/ 1286620 h 2146775"/>
              <a:gd name="connsiteX6" fmla="*/ 510557 w 11944014"/>
              <a:gd name="connsiteY6" fmla="*/ 1257271 h 2146775"/>
              <a:gd name="connsiteX7" fmla="*/ 4857299 w 11944014"/>
              <a:gd name="connsiteY7" fmla="*/ 599865 h 2146775"/>
              <a:gd name="connsiteX8" fmla="*/ 9047741 w 11944014"/>
              <a:gd name="connsiteY8" fmla="*/ 1387 h 214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44014" h="2146775">
                <a:moveTo>
                  <a:pt x="9047741" y="1387"/>
                </a:moveTo>
                <a:cubicBezTo>
                  <a:pt x="10060417" y="-14311"/>
                  <a:pt x="10769985" y="106119"/>
                  <a:pt x="11419539" y="219677"/>
                </a:cubicBezTo>
                <a:lnTo>
                  <a:pt x="11944014" y="308073"/>
                </a:lnTo>
                <a:lnTo>
                  <a:pt x="11944014" y="2146775"/>
                </a:lnTo>
                <a:lnTo>
                  <a:pt x="0" y="2146775"/>
                </a:lnTo>
                <a:lnTo>
                  <a:pt x="0" y="1286620"/>
                </a:lnTo>
                <a:lnTo>
                  <a:pt x="510557" y="1257271"/>
                </a:lnTo>
                <a:cubicBezTo>
                  <a:pt x="1951876" y="1160309"/>
                  <a:pt x="3261017" y="969324"/>
                  <a:pt x="4857299" y="599865"/>
                </a:cubicBezTo>
                <a:cubicBezTo>
                  <a:pt x="6719283" y="168910"/>
                  <a:pt x="8035066" y="17084"/>
                  <a:pt x="9047741" y="138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Section Header 1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 userDrawn="1"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3D7B7-CDD7-4664-B2D8-6F60FEAEAC45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E81145E-5F17-4CB6-9E17-ECF3BB38DE75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1393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836EFBB-5449-47CB-96D6-CB08287F75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3860800"/>
            <a:ext cx="9666514" cy="1686720"/>
          </a:xfrm>
        </p:spPr>
        <p:txBody>
          <a:bodyPr anchor="b">
            <a:noAutofit/>
          </a:bodyPr>
          <a:lstStyle>
            <a:lvl1pPr>
              <a:defRPr sz="4800" spc="-1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 2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5610170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8A07C-35C9-40A7-8487-9EAD314C595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E9143E8-1B27-4F08-9F20-BE30B14AC24E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055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B7F86AE-7774-0B40-8944-DF91C77B02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63040"/>
            <a:ext cx="8030935" cy="4770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01253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618346-1C0B-46DB-AAA6-71C865DE85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63040"/>
            <a:ext cx="8030935" cy="4770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2014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328109-BF43-024A-B25B-C69E4098C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5184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F05F3BA-65F5-4621-807B-C8B857D01C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38900" y="1463346"/>
            <a:ext cx="5181600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CDF89E18-CCB2-4D69-AB77-CAB656EC21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38898" y="2149311"/>
            <a:ext cx="5181601" cy="40403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86F9159-693C-4325-939A-8C6869B224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463346"/>
            <a:ext cx="5306787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BEA361C8-0231-48E8-965E-6BB6D606C9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6314" y="2149311"/>
            <a:ext cx="5306789" cy="40403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9633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500" y="1509626"/>
            <a:ext cx="4900386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20114" y="1509626"/>
            <a:ext cx="4900386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500" y="2156688"/>
            <a:ext cx="4900386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20114" y="2156688"/>
            <a:ext cx="4900386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FB9F81-CC7F-5244-95A6-279BE4B51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253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1B3994-EC85-4CEE-B849-7AE33810F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8709A-CA63-4EAC-968C-8873D088E6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253331"/>
            <a:ext cx="11174186" cy="47700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A3C17-8AAC-4933-A7DA-CD7D3F840B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6314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B1D122-60D0-8B4D-896A-2A770C0B6343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B5B9FA1-1805-A944-AC99-868579EBA1AD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575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61" r:id="rId4"/>
    <p:sldLayoutId id="2147483662" r:id="rId5"/>
    <p:sldLayoutId id="2147483650" r:id="rId6"/>
    <p:sldLayoutId id="2147483668" r:id="rId7"/>
    <p:sldLayoutId id="2147483674" r:id="rId8"/>
    <p:sldLayoutId id="2147483666" r:id="rId9"/>
    <p:sldLayoutId id="2147483664" r:id="rId10"/>
    <p:sldLayoutId id="2147483663" r:id="rId11"/>
    <p:sldLayoutId id="2147483667" r:id="rId12"/>
    <p:sldLayoutId id="2147483671" r:id="rId13"/>
    <p:sldLayoutId id="2147483672" r:id="rId14"/>
    <p:sldLayoutId id="2147483673" r:id="rId15"/>
    <p:sldLayoutId id="2147483675" r:id="rId16"/>
    <p:sldLayoutId id="2147483676" r:id="rId17"/>
    <p:sldLayoutId id="2147483665" r:id="rId18"/>
    <p:sldLayoutId id="2147483669" r:id="rId19"/>
    <p:sldLayoutId id="2147483670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600" b="1" kern="1200" spc="-60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60" userDrawn="1">
          <p15:clr>
            <a:srgbClr val="F26B43"/>
          </p15:clr>
        </p15:guide>
        <p15:guide id="4" pos="7320" userDrawn="1">
          <p15:clr>
            <a:srgbClr val="F26B43"/>
          </p15:clr>
        </p15:guide>
        <p15:guide id="5" orient="horz" pos="360" userDrawn="1">
          <p15:clr>
            <a:srgbClr val="F26B43"/>
          </p15:clr>
        </p15:guide>
        <p15:guide id="6" orient="horz" pos="39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3.xml"/><Relationship Id="rId7" Type="http://schemas.openxmlformats.org/officeDocument/2006/relationships/image" Target="../media/image2.jp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8.JP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tags" Target="../tags/tag26.xml"/><Relationship Id="rId7" Type="http://schemas.openxmlformats.org/officeDocument/2006/relationships/image" Target="../media/image19.jpg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20.xml"/><Relationship Id="rId9" Type="http://schemas.openxmlformats.org/officeDocument/2006/relationships/hyperlink" Target="http://www.invest.gov.gn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jp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.xml"/><Relationship Id="rId7" Type="http://schemas.openxmlformats.org/officeDocument/2006/relationships/image" Target="../media/image7.JP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tags" Target="../tags/tag13.xml"/><Relationship Id="rId7" Type="http://schemas.openxmlformats.org/officeDocument/2006/relationships/image" Target="../media/image9.jp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1.jp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7.xml"/><Relationship Id="rId7" Type="http://schemas.openxmlformats.org/officeDocument/2006/relationships/image" Target="../media/image12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5.jpe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tags" Target="../tags/tag19.xml"/><Relationship Id="rId7" Type="http://schemas.openxmlformats.org/officeDocument/2006/relationships/image" Target="../media/image16.jp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9DF5CB-4789-4060-B39A-E493FC104B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7997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911C47-4EAE-4ABC-9EF0-1AE40F7F4C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4871" y="4901450"/>
            <a:ext cx="10607040" cy="701731"/>
          </a:xfrm>
        </p:spPr>
        <p:txBody>
          <a:bodyPr/>
          <a:lstStyle/>
          <a:p>
            <a:r>
              <a:rPr lang="en-IN" dirty="0"/>
              <a:t>Invest in livestock and fishing</a:t>
            </a:r>
            <a:endParaRPr lang="en-GB" dirty="0"/>
          </a:p>
        </p:txBody>
      </p:sp>
      <p:sp>
        <p:nvSpPr>
          <p:cNvPr id="52" name="Subtitle 51">
            <a:extLst>
              <a:ext uri="{FF2B5EF4-FFF2-40B4-BE49-F238E27FC236}">
                <a16:creationId xmlns:a16="http://schemas.microsoft.com/office/drawing/2014/main" id="{46FF1827-B46B-4BC4-8665-8914CF45DE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4871" y="5603181"/>
            <a:ext cx="9747842" cy="3693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IN" dirty="0"/>
              <a:t>Rural development at the heart of food self-sufficiency </a:t>
            </a:r>
            <a:endParaRPr lang="fr-FR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37446A3-465D-4DAA-B250-88D029F44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10" name="Picture Placeholder 8">
            <a:extLst>
              <a:ext uri="{FF2B5EF4-FFF2-40B4-BE49-F238E27FC236}">
                <a16:creationId xmlns:a16="http://schemas.microsoft.com/office/drawing/2014/main" id="{5959C651-6B4B-4483-812B-51D8017D4C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79264" y="24105"/>
            <a:ext cx="10412736" cy="4508013"/>
          </a:xfrm>
          <a:custGeom>
            <a:avLst/>
            <a:gdLst>
              <a:gd name="connsiteX0" fmla="*/ 0 w 11944014"/>
              <a:gd name="connsiteY0" fmla="*/ 0 h 4372387"/>
              <a:gd name="connsiteX1" fmla="*/ 11944014 w 11944014"/>
              <a:gd name="connsiteY1" fmla="*/ 0 h 4372387"/>
              <a:gd name="connsiteX2" fmla="*/ 11944014 w 11944014"/>
              <a:gd name="connsiteY2" fmla="*/ 4064314 h 4372387"/>
              <a:gd name="connsiteX3" fmla="*/ 11419539 w 11944014"/>
              <a:gd name="connsiteY3" fmla="*/ 4152711 h 4372387"/>
              <a:gd name="connsiteX4" fmla="*/ 4857299 w 11944014"/>
              <a:gd name="connsiteY4" fmla="*/ 3772522 h 4372387"/>
              <a:gd name="connsiteX5" fmla="*/ 510557 w 11944014"/>
              <a:gd name="connsiteY5" fmla="*/ 3115117 h 4372387"/>
              <a:gd name="connsiteX6" fmla="*/ 0 w 11944014"/>
              <a:gd name="connsiteY6" fmla="*/ 3085767 h 437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44014" h="4372387">
                <a:moveTo>
                  <a:pt x="0" y="0"/>
                </a:moveTo>
                <a:lnTo>
                  <a:pt x="11944014" y="0"/>
                </a:lnTo>
                <a:lnTo>
                  <a:pt x="11944014" y="4064314"/>
                </a:lnTo>
                <a:lnTo>
                  <a:pt x="11419539" y="4152711"/>
                </a:lnTo>
                <a:cubicBezTo>
                  <a:pt x="10120431" y="4379826"/>
                  <a:pt x="8581267" y="4634432"/>
                  <a:pt x="4857299" y="3772522"/>
                </a:cubicBezTo>
                <a:cubicBezTo>
                  <a:pt x="3261016" y="3403063"/>
                  <a:pt x="1951876" y="3212078"/>
                  <a:pt x="510557" y="3115117"/>
                </a:cubicBezTo>
                <a:lnTo>
                  <a:pt x="0" y="308576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pic>
      <p:pic>
        <p:nvPicPr>
          <p:cNvPr id="11" name="Picture Placeholder 8">
            <a:extLst>
              <a:ext uri="{FF2B5EF4-FFF2-40B4-BE49-F238E27FC236}">
                <a16:creationId xmlns:a16="http://schemas.microsoft.com/office/drawing/2014/main" id="{66EF098C-6C20-4E9F-9F69-3B11972AC9F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2" y="0"/>
            <a:ext cx="6608112" cy="4532118"/>
          </a:xfrm>
          <a:custGeom>
            <a:avLst/>
            <a:gdLst>
              <a:gd name="connsiteX0" fmla="*/ 0 w 11944014"/>
              <a:gd name="connsiteY0" fmla="*/ 0 h 4372387"/>
              <a:gd name="connsiteX1" fmla="*/ 11944014 w 11944014"/>
              <a:gd name="connsiteY1" fmla="*/ 0 h 4372387"/>
              <a:gd name="connsiteX2" fmla="*/ 11944014 w 11944014"/>
              <a:gd name="connsiteY2" fmla="*/ 4064314 h 4372387"/>
              <a:gd name="connsiteX3" fmla="*/ 11419539 w 11944014"/>
              <a:gd name="connsiteY3" fmla="*/ 4152711 h 4372387"/>
              <a:gd name="connsiteX4" fmla="*/ 4857299 w 11944014"/>
              <a:gd name="connsiteY4" fmla="*/ 3772522 h 4372387"/>
              <a:gd name="connsiteX5" fmla="*/ 510557 w 11944014"/>
              <a:gd name="connsiteY5" fmla="*/ 3115117 h 4372387"/>
              <a:gd name="connsiteX6" fmla="*/ 0 w 11944014"/>
              <a:gd name="connsiteY6" fmla="*/ 3085767 h 437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44014" h="4372387">
                <a:moveTo>
                  <a:pt x="0" y="0"/>
                </a:moveTo>
                <a:lnTo>
                  <a:pt x="11944014" y="0"/>
                </a:lnTo>
                <a:lnTo>
                  <a:pt x="11944014" y="4064314"/>
                </a:lnTo>
                <a:lnTo>
                  <a:pt x="11419539" y="4152711"/>
                </a:lnTo>
                <a:cubicBezTo>
                  <a:pt x="10120431" y="4379826"/>
                  <a:pt x="8581267" y="4634432"/>
                  <a:pt x="4857299" y="3772522"/>
                </a:cubicBezTo>
                <a:cubicBezTo>
                  <a:pt x="3261016" y="3403063"/>
                  <a:pt x="1951876" y="3212078"/>
                  <a:pt x="510557" y="3115117"/>
                </a:cubicBezTo>
                <a:lnTo>
                  <a:pt x="0" y="308576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1ABAE5B-19E4-4A0C-9817-004C896BDF7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9390" y="0"/>
            <a:ext cx="2325041" cy="215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7560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4671E8-FD53-4943-AA19-857680B2D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082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4671E8-FD53-4943-AA19-857680B2D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1520F8-DC57-4EF1-B20F-312356586A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0" y="0"/>
            <a:ext cx="12282905" cy="7115376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4189951"/>
            <a:ext cx="9666514" cy="1686720"/>
          </a:xfrm>
        </p:spPr>
        <p:txBody>
          <a:bodyPr/>
          <a:lstStyle/>
          <a:p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Investment opportunities</a:t>
            </a:r>
            <a:endParaRPr lang="en-GB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10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234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1AFCBA1-EA94-4136-B09C-70BE8F2163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0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1AFCBA1-EA94-4136-B09C-70BE8F216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55A0623-F755-424D-B170-1C6ED03613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296BCC-1C67-4315-B9DB-EB421988C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Investment</a:t>
            </a:r>
            <a:r>
              <a:rPr lang="fr-FR" dirty="0"/>
              <a:t> </a:t>
            </a:r>
            <a:r>
              <a:rPr lang="fr-FR" dirty="0" err="1"/>
              <a:t>opportunities</a:t>
            </a:r>
            <a:endParaRPr lang="en-US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895CD7-CCE7-42B7-90E3-4D0C47EBD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7" name="Tableau 11">
            <a:extLst>
              <a:ext uri="{FF2B5EF4-FFF2-40B4-BE49-F238E27FC236}">
                <a16:creationId xmlns:a16="http://schemas.microsoft.com/office/drawing/2014/main" id="{853B7EAE-4F42-493E-B884-D2B70BEC49C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30651703"/>
              </p:ext>
            </p:extLst>
          </p:nvPr>
        </p:nvGraphicFramePr>
        <p:xfrm>
          <a:off x="790490" y="1564490"/>
          <a:ext cx="9706428" cy="1346466"/>
        </p:xfrm>
        <a:graphic>
          <a:graphicData uri="http://schemas.openxmlformats.org/drawingml/2006/table">
            <a:tbl>
              <a:tblPr/>
              <a:tblGrid>
                <a:gridCol w="8119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51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992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24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noProof="0">
                          <a:latin typeface="+mj-lt"/>
                          <a:ea typeface="Calibri"/>
                          <a:cs typeface="Times New Roman"/>
                        </a:rPr>
                        <a:t>NO.</a:t>
                      </a:r>
                      <a:endParaRPr lang="en-US" sz="1800" noProof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noProof="0">
                          <a:latin typeface="+mj-lt"/>
                          <a:ea typeface="Calibri"/>
                          <a:cs typeface="Times New Roman"/>
                        </a:rPr>
                        <a:t>PROJECT</a:t>
                      </a:r>
                      <a:endParaRPr lang="en-US" sz="1800" noProof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noProof="0">
                          <a:latin typeface="+mj-lt"/>
                          <a:ea typeface="Calibri"/>
                          <a:cs typeface="Times New Roman"/>
                        </a:rPr>
                        <a:t>COST</a:t>
                      </a:r>
                      <a:endParaRPr lang="en-US" sz="1800" noProof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95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dirty="0"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elopment of intensive meat and dairy productio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 million USD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95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dirty="0">
                          <a:latin typeface="+mj-lt"/>
                          <a:ea typeface="Calibri"/>
                          <a:cs typeface="Times New Roman"/>
                        </a:rPr>
                        <a:t>2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j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reation of a poultry and egg production complex in Upper Guinea</a:t>
                      </a:r>
                      <a:endParaRPr lang="en-US" sz="18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7 million USD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78792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34930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37B0E1-EAF9-42B9-AB0B-2AB530D282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199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1639F12-10DF-4BE2-A9DF-ED86C9BD6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D33E73E-2F4E-4EB2-9016-B17AE597839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462" b="4849"/>
          <a:stretch/>
        </p:blipFill>
        <p:spPr>
          <a:xfrm>
            <a:off x="0" y="2329989"/>
            <a:ext cx="12192000" cy="4528011"/>
          </a:xfrm>
          <a:prstGeom prst="rect">
            <a:avLst/>
          </a:prstGeom>
        </p:spPr>
      </p:pic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C7A54B61-8541-AB40-BD1C-F80E8A42406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8"/>
          <a:srcRect t="13254" b="9198"/>
          <a:stretch/>
        </p:blipFill>
        <p:spPr>
          <a:xfrm>
            <a:off x="1" y="0"/>
            <a:ext cx="12191999" cy="3429000"/>
          </a:xfrm>
        </p:spPr>
      </p:pic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8DBDD9F7-3B84-F743-95F4-C9FA74DA597F}"/>
              </a:ext>
            </a:extLst>
          </p:cNvPr>
          <p:cNvSpPr txBox="1">
            <a:spLocks/>
          </p:cNvSpPr>
          <p:nvPr/>
        </p:nvSpPr>
        <p:spPr>
          <a:xfrm flipH="1">
            <a:off x="-1" y="4292053"/>
            <a:ext cx="12191997" cy="2565947"/>
          </a:xfrm>
          <a:custGeom>
            <a:avLst/>
            <a:gdLst>
              <a:gd name="connsiteX0" fmla="*/ 12486732 w 13339868"/>
              <a:gd name="connsiteY0" fmla="*/ 1914 h 2962751"/>
              <a:gd name="connsiteX1" fmla="*/ 6703529 w 13339868"/>
              <a:gd name="connsiteY1" fmla="*/ 827870 h 2962751"/>
              <a:gd name="connsiteX2" fmla="*/ 704617 w 13339868"/>
              <a:gd name="connsiteY2" fmla="*/ 1735152 h 2962751"/>
              <a:gd name="connsiteX3" fmla="*/ 0 w 13339868"/>
              <a:gd name="connsiteY3" fmla="*/ 1775657 h 2962751"/>
              <a:gd name="connsiteX4" fmla="*/ 0 w 13339868"/>
              <a:gd name="connsiteY4" fmla="*/ 2962751 h 2962751"/>
              <a:gd name="connsiteX5" fmla="*/ 13339868 w 13339868"/>
              <a:gd name="connsiteY5" fmla="*/ 2962751 h 2962751"/>
              <a:gd name="connsiteX6" fmla="*/ 13339868 w 13339868"/>
              <a:gd name="connsiteY6" fmla="*/ 13763 h 2962751"/>
              <a:gd name="connsiteX7" fmla="*/ 12991874 w 13339868"/>
              <a:gd name="connsiteY7" fmla="*/ 2211 h 2962751"/>
              <a:gd name="connsiteX8" fmla="*/ 12486732 w 13339868"/>
              <a:gd name="connsiteY8" fmla="*/ 1914 h 296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39868" h="2962751">
                <a:moveTo>
                  <a:pt x="12486732" y="1914"/>
                </a:moveTo>
                <a:cubicBezTo>
                  <a:pt x="11089145" y="23578"/>
                  <a:pt x="9273241" y="233112"/>
                  <a:pt x="6703529" y="827870"/>
                </a:cubicBezTo>
                <a:cubicBezTo>
                  <a:pt x="4500510" y="1337758"/>
                  <a:pt x="2693772" y="1601336"/>
                  <a:pt x="704617" y="1735152"/>
                </a:cubicBezTo>
                <a:lnTo>
                  <a:pt x="0" y="1775657"/>
                </a:lnTo>
                <a:lnTo>
                  <a:pt x="0" y="2962751"/>
                </a:lnTo>
                <a:lnTo>
                  <a:pt x="13339868" y="2962751"/>
                </a:lnTo>
                <a:lnTo>
                  <a:pt x="13339868" y="13763"/>
                </a:lnTo>
                <a:lnTo>
                  <a:pt x="12991874" y="2211"/>
                </a:lnTo>
                <a:cubicBezTo>
                  <a:pt x="12829592" y="-567"/>
                  <a:pt x="12661430" y="-794"/>
                  <a:pt x="12486732" y="1914"/>
                </a:cubicBezTo>
                <a:close/>
              </a:path>
            </a:pathLst>
          </a:custGeom>
          <a:solidFill>
            <a:schemeClr val="tx1">
              <a:alpha val="62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GB" sz="1800" b="0" kern="1200" dirty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dirty="0"/>
              <a:t>Insert Image</a:t>
            </a:r>
          </a:p>
        </p:txBody>
      </p:sp>
      <p:sp>
        <p:nvSpPr>
          <p:cNvPr id="12" name="Rectangle 11" descr="Lower accent block for slide image">
            <a:extLst>
              <a:ext uri="{FF2B5EF4-FFF2-40B4-BE49-F238E27FC236}">
                <a16:creationId xmlns:a16="http://schemas.microsoft.com/office/drawing/2014/main" id="{D7F67FDF-D697-3249-AD21-75F6353FFBA5}"/>
              </a:ext>
            </a:extLst>
          </p:cNvPr>
          <p:cNvSpPr/>
          <p:nvPr/>
        </p:nvSpPr>
        <p:spPr>
          <a:xfrm>
            <a:off x="438912" y="4690872"/>
            <a:ext cx="73152" cy="1188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984" y="4580408"/>
            <a:ext cx="6563506" cy="1311128"/>
          </a:xfrm>
        </p:spPr>
        <p:txBody>
          <a:bodyPr/>
          <a:lstStyle/>
          <a:p>
            <a:r>
              <a:rPr lang="en-IN" spc="0" dirty="0"/>
              <a:t>Thank you for </a:t>
            </a:r>
            <a:br>
              <a:rPr lang="en-IN" spc="0" dirty="0"/>
            </a:br>
            <a:r>
              <a:rPr lang="en-IN" spc="0" dirty="0"/>
              <a:t>your attention</a:t>
            </a:r>
            <a:endParaRPr lang="en-GB" spc="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27317BB-02BC-42D9-B0EA-8C6C6EE029E6}"/>
              </a:ext>
            </a:extLst>
          </p:cNvPr>
          <p:cNvSpPr txBox="1">
            <a:spLocks/>
          </p:cNvSpPr>
          <p:nvPr/>
        </p:nvSpPr>
        <p:spPr>
          <a:xfrm>
            <a:off x="1563169" y="6013130"/>
            <a:ext cx="8825659" cy="860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>
                <a:solidFill>
                  <a:schemeClr val="bg2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nvest.gov.gn</a:t>
            </a:r>
            <a:endParaRPr lang="en-US" b="1" dirty="0">
              <a:solidFill>
                <a:schemeClr val="bg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5D28204-5683-42AA-A48B-74604DE1A95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3062" y="0"/>
            <a:ext cx="2325041" cy="215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186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D933F4-9E79-4C0A-AB63-71E0FD2A94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D933F4-9E79-4C0A-AB63-71E0FD2A9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326A60E-DEA1-4B4B-BDE6-F04311410F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04CA36-9318-4A11-93CE-B7E860FE7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857517"/>
            <a:ext cx="9404723" cy="590931"/>
          </a:xfrm>
        </p:spPr>
        <p:txBody>
          <a:bodyPr/>
          <a:lstStyle/>
          <a:p>
            <a:r>
              <a:rPr lang="en-US" dirty="0"/>
              <a:t>Plan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BAA13E-4F44-48E6-AFDD-9C2DC997AE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en-IN" sz="2800" dirty="0"/>
              <a:t>General presentation</a:t>
            </a:r>
          </a:p>
          <a:p>
            <a:pPr lvl="1"/>
            <a:r>
              <a:rPr lang="en-IN" sz="2800" dirty="0"/>
              <a:t>Abundant animal and fisheries resources</a:t>
            </a:r>
          </a:p>
          <a:p>
            <a:pPr lvl="1"/>
            <a:r>
              <a:rPr lang="en-IN" sz="2800" dirty="0"/>
              <a:t>Reforms underway</a:t>
            </a:r>
          </a:p>
          <a:p>
            <a:pPr lvl="1"/>
            <a:r>
              <a:rPr lang="en-IN" sz="2800" dirty="0"/>
              <a:t>Investment opportunities </a:t>
            </a:r>
            <a:endParaRPr lang="fr-FR" sz="28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72AA25-FEA4-4925-843B-7A6305178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098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4671E8-FD53-4943-AA19-857680B2D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789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4671E8-FD53-4943-AA19-857680B2D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1520F8-DC57-4EF1-B20F-312356586A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/>
          <a:srcRect t="15937" b="1"/>
          <a:stretch/>
        </p:blipFill>
        <p:spPr>
          <a:xfrm>
            <a:off x="20864" y="0"/>
            <a:ext cx="12192000" cy="6832600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4132287"/>
            <a:ext cx="9666514" cy="1686720"/>
          </a:xfrm>
        </p:spPr>
        <p:txBody>
          <a:bodyPr/>
          <a:lstStyle/>
          <a:p>
            <a:r>
              <a:rPr lang="en-US" dirty="0"/>
              <a:t>General presentation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3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6954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56AA637-AABF-440A-BE31-5A6D53FEBB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56AA637-AABF-440A-BE31-5A6D53FEB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C8BC4B3-D340-484F-8F32-324B26107A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BA3C-4854-40A9-8432-845A96565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presentation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9634E4-BD44-448A-8026-7ED5BB8E50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6111" y="1528933"/>
            <a:ext cx="5996254" cy="458593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Area: 245,857 Km²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Population: 12 million inhabitant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One of the highest growth rates in the world: </a:t>
            </a:r>
            <a:br>
              <a:rPr lang="en-IN" dirty="0"/>
            </a:br>
            <a:r>
              <a:rPr lang="en-IN" dirty="0"/>
              <a:t>9.9% on average since 2016 (IMF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Gain of 27 ranks in the World Bank's Doing Business in 7 year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Mobilization of more than 21 billion USD at </a:t>
            </a:r>
            <a:br>
              <a:rPr lang="en-IN" dirty="0"/>
            </a:br>
            <a:r>
              <a:rPr lang="en-IN" dirty="0"/>
              <a:t>the PNDES Advisory Group for 2016-2020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Guinea-China framework agreement: 20 billion USD over 20 years for infrastructure financi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A807C-4E90-4B40-9746-4065593C9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685F7F8-F157-41B8-92B0-F756CEA0A9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22597" y="988000"/>
            <a:ext cx="5391106" cy="5230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284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D933F4-9E79-4C0A-AB63-71E0FD2A94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6899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D933F4-9E79-4C0A-AB63-71E0FD2A9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326A60E-DEA1-4B4B-BDE6-F04311410F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28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04CA36-9318-4A11-93CE-B7E860FE7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581" y="396084"/>
            <a:ext cx="9404723" cy="480131"/>
          </a:xfrm>
        </p:spPr>
        <p:txBody>
          <a:bodyPr/>
          <a:lstStyle/>
          <a:p>
            <a:r>
              <a:rPr lang="en-IN" sz="2800" dirty="0"/>
              <a:t>Abundant animal and fisheries resources</a:t>
            </a:r>
            <a:endParaRPr lang="fr-FR" sz="2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BAA13E-4F44-48E6-AFDD-9C2DC997AE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0581" y="1209213"/>
            <a:ext cx="7636498" cy="4934873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fr-FR" sz="2400" b="1" dirty="0" err="1"/>
              <a:t>Livestock</a:t>
            </a:r>
            <a:r>
              <a:rPr lang="fr-FR" sz="2400" b="1" dirty="0"/>
              <a:t> </a:t>
            </a:r>
            <a:r>
              <a:rPr lang="fr-FR" sz="2400" b="1" dirty="0" err="1"/>
              <a:t>breeding</a:t>
            </a:r>
            <a:r>
              <a:rPr lang="fr-FR" sz="2400" b="1" dirty="0"/>
              <a:t> </a:t>
            </a:r>
            <a:r>
              <a:rPr lang="fr-FR" dirty="0"/>
              <a:t> </a:t>
            </a:r>
          </a:p>
          <a:p>
            <a:pPr>
              <a:spcAft>
                <a:spcPts val="0"/>
              </a:spcAft>
            </a:pPr>
            <a:r>
              <a:rPr lang="en-IN" sz="2200" dirty="0"/>
              <a:t>A country with a strong pastoral tradition (300,000 herders)  </a:t>
            </a:r>
          </a:p>
          <a:p>
            <a:pPr>
              <a:spcAft>
                <a:spcPts val="0"/>
              </a:spcAft>
            </a:pPr>
            <a:r>
              <a:rPr lang="en-IN" sz="2200" dirty="0"/>
              <a:t>A diversity of agro-ecological conditions</a:t>
            </a:r>
          </a:p>
          <a:p>
            <a:pPr>
              <a:spcAft>
                <a:spcPts val="0"/>
              </a:spcAft>
            </a:pPr>
            <a:r>
              <a:rPr lang="en-IN" sz="2200" dirty="0"/>
              <a:t>Presence of rich and varied natural pastures (70,000 km²)</a:t>
            </a:r>
          </a:p>
          <a:p>
            <a:pPr>
              <a:spcAft>
                <a:spcPts val="0"/>
              </a:spcAft>
            </a:pPr>
            <a:r>
              <a:rPr lang="en-IN" sz="2200" dirty="0"/>
              <a:t>Water resources consisting of several river basins (1,165 waterways)</a:t>
            </a:r>
          </a:p>
          <a:p>
            <a:pPr>
              <a:spcAft>
                <a:spcPts val="0"/>
              </a:spcAft>
            </a:pPr>
            <a:r>
              <a:rPr lang="en-IN" sz="2200" dirty="0"/>
              <a:t>Availability of agricultural and agro-industrial by-products for livestock feed </a:t>
            </a:r>
          </a:p>
          <a:p>
            <a:pPr>
              <a:spcAft>
                <a:spcPts val="0"/>
              </a:spcAft>
            </a:pPr>
            <a:r>
              <a:rPr lang="en-IN" sz="2200" dirty="0"/>
              <a:t>A livestock (cattle, sheep and goats) made up of species and breeds characterized by their hardiness, their ability to adapt to their environment and especially their resistance to </a:t>
            </a:r>
            <a:r>
              <a:rPr lang="en-IN" sz="2200" dirty="0" err="1"/>
              <a:t>trypanosomiasis</a:t>
            </a:r>
            <a:endParaRPr lang="en-IN" sz="2200" dirty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72AA25-FEA4-4925-843B-7A6305178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1E98C44-9575-4B08-9B5C-82E290C2474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39150" y="961563"/>
            <a:ext cx="3347466" cy="222570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061C1AA-9415-49C5-9C5C-1CCABF15CF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58200" y="3429000"/>
            <a:ext cx="3328416" cy="2183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6973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D933F4-9E79-4C0A-AB63-71E0FD2A94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5449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D933F4-9E79-4C0A-AB63-71E0FD2A9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326A60E-DEA1-4B4B-BDE6-F04311410F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28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04CA36-9318-4A11-93CE-B7E860FE7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581" y="396084"/>
            <a:ext cx="9404723" cy="480131"/>
          </a:xfrm>
        </p:spPr>
        <p:txBody>
          <a:bodyPr/>
          <a:lstStyle/>
          <a:p>
            <a:r>
              <a:rPr lang="en-IN" sz="2800" dirty="0"/>
              <a:t>Abundant animal and fisheries resources</a:t>
            </a:r>
            <a:endParaRPr lang="fr-FR" sz="2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BAA13E-4F44-48E6-AFDD-9C2DC997AE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3103" y="1181100"/>
            <a:ext cx="7312647" cy="471533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2400" b="1" dirty="0" err="1"/>
              <a:t>Fishing</a:t>
            </a:r>
            <a:r>
              <a:rPr lang="fr-FR" sz="2200" dirty="0"/>
              <a:t> </a:t>
            </a:r>
          </a:p>
          <a:p>
            <a:pPr>
              <a:spcAft>
                <a:spcPts val="0"/>
              </a:spcAft>
            </a:pPr>
            <a:r>
              <a:rPr lang="en-IN" sz="2200" dirty="0"/>
              <a:t>330 km of maritime coast</a:t>
            </a:r>
          </a:p>
          <a:p>
            <a:pPr>
              <a:spcAft>
                <a:spcPts val="0"/>
              </a:spcAft>
            </a:pPr>
            <a:r>
              <a:rPr lang="en-IN" sz="2200" dirty="0"/>
              <a:t>Hydrographic network comprising 23 river basins, including 9 national and 14 </a:t>
            </a:r>
            <a:r>
              <a:rPr lang="en-IN" sz="2200" dirty="0" err="1"/>
              <a:t>transboundary</a:t>
            </a:r>
            <a:endParaRPr lang="en-IN" sz="2200" dirty="0"/>
          </a:p>
          <a:p>
            <a:pPr>
              <a:spcAft>
                <a:spcPts val="0"/>
              </a:spcAft>
            </a:pPr>
            <a:r>
              <a:rPr lang="en-IN" sz="2200" dirty="0"/>
              <a:t>Estimated fishing potential between 150,000 and 250,000 tons of fish/year</a:t>
            </a:r>
          </a:p>
          <a:p>
            <a:pPr>
              <a:spcAft>
                <a:spcPts val="0"/>
              </a:spcAft>
            </a:pPr>
            <a:r>
              <a:rPr lang="en-IN" sz="2200" dirty="0"/>
              <a:t>Aquaculture potential estimated at 520,000 ha </a:t>
            </a:r>
          </a:p>
          <a:p>
            <a:pPr>
              <a:spcAft>
                <a:spcPts val="0"/>
              </a:spcAft>
            </a:pPr>
            <a:r>
              <a:rPr lang="en-IN" sz="2200" dirty="0"/>
              <a:t>140,000 ha of land in mangrove and back mangrove swamps</a:t>
            </a:r>
          </a:p>
          <a:p>
            <a:pPr>
              <a:spcAft>
                <a:spcPts val="0"/>
              </a:spcAft>
            </a:pPr>
            <a:r>
              <a:rPr lang="en-IN" sz="2200" dirty="0"/>
              <a:t>200,000 ha of river alluvial plains </a:t>
            </a:r>
            <a:endParaRPr lang="fr-FR" sz="22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72AA25-FEA4-4925-843B-7A6305178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2C505E4-C69C-402F-BE38-3173A4D02E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10550" y="1181100"/>
            <a:ext cx="3727450" cy="248141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A360FD6-6F0B-456A-A0F1-1854ABACC04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10550" y="4010418"/>
            <a:ext cx="3727450" cy="2275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9833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4671E8-FD53-4943-AA19-857680B2D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5033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4671E8-FD53-4943-AA19-857680B2D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1520F8-DC57-4EF1-B20F-312356586A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0" y="-10732"/>
            <a:ext cx="12192000" cy="6868732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4157000"/>
            <a:ext cx="9666514" cy="1686720"/>
          </a:xfrm>
        </p:spPr>
        <p:txBody>
          <a:bodyPr/>
          <a:lstStyle/>
          <a:p>
            <a:r>
              <a:rPr lang="en-US" dirty="0"/>
              <a:t>Reforms underway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7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3361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31B2395-D78E-4A35-A8CE-2A7D48DFEE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8098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31B2395-D78E-4A35-A8CE-2A7D48DFEE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BA58C5-0405-4C5D-AE9A-D355767D34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6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FAFA63-EF73-4268-8107-6CD20923D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mbitious reforms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AC4CB2C1-7DE3-44DC-A4F5-55C9466AE9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5392" y="3101517"/>
            <a:ext cx="2820761" cy="334508"/>
          </a:xfrm>
        </p:spPr>
        <p:txBody>
          <a:bodyPr/>
          <a:lstStyle/>
          <a:p>
            <a:r>
              <a:rPr lang="fr-FR" dirty="0"/>
              <a:t>Marketing &amp; Food</a:t>
            </a:r>
            <a:endParaRPr lang="en-GB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DFFB9D38-CDF6-45F7-A615-007F303B1A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5393" y="3596810"/>
            <a:ext cx="2862500" cy="1720230"/>
          </a:xfrm>
        </p:spPr>
        <p:txBody>
          <a:bodyPr/>
          <a:lstStyle/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IN" dirty="0"/>
              <a:t>1 regional livestock market 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IN" dirty="0"/>
              <a:t>4 prefectural cattle markets 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IN" dirty="0"/>
              <a:t>4 improved slaughter areas 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IN" dirty="0"/>
              <a:t>10 pastoral boreholes equipped with solar pumping systems in the cattle breeding regions of </a:t>
            </a:r>
            <a:r>
              <a:rPr lang="en-IN" dirty="0" err="1"/>
              <a:t>Gaoual</a:t>
            </a:r>
            <a:r>
              <a:rPr lang="en-IN" dirty="0"/>
              <a:t> and </a:t>
            </a:r>
            <a:r>
              <a:rPr lang="en-IN" dirty="0" err="1"/>
              <a:t>Dinguiraye</a:t>
            </a:r>
            <a:endParaRPr lang="fr-FR" dirty="0"/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IN" dirty="0"/>
              <a:t>Implementation of a master plan for the development and management of pastoral areas including 124 sites 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78932DB0-2733-4BAD-BB5D-9536D20E09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87754" y="3163306"/>
            <a:ext cx="2820761" cy="334508"/>
          </a:xfrm>
        </p:spPr>
        <p:txBody>
          <a:bodyPr/>
          <a:lstStyle/>
          <a:p>
            <a:r>
              <a:rPr lang="fr-FR" dirty="0"/>
              <a:t>Maritime Protection</a:t>
            </a:r>
            <a:endParaRPr lang="en-GB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6FB540F0-2ABD-4D9C-AA51-A68864DD78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24053" y="3519243"/>
            <a:ext cx="2684462" cy="1496898"/>
          </a:xfrm>
        </p:spPr>
        <p:txBody>
          <a:bodyPr/>
          <a:lstStyle/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IN" dirty="0"/>
              <a:t>Revision of the Maritime Fisheries Code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IN" dirty="0"/>
              <a:t>Revision of the Inland Fisheries Code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IN" dirty="0"/>
              <a:t>Adoption of a new Aquaculture Code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IN" dirty="0"/>
              <a:t>Creation of a maritime prefecture to board offending vessels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IN" dirty="0"/>
              <a:t>Introduction of secure documents for fishing licenses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8849DCBF-FE6C-4038-BE61-0BE3E249C35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7693" y="3151385"/>
            <a:ext cx="2921361" cy="334508"/>
          </a:xfrm>
        </p:spPr>
        <p:txBody>
          <a:bodyPr/>
          <a:lstStyle/>
          <a:p>
            <a:r>
              <a:rPr lang="fr-FR" dirty="0">
                <a:solidFill>
                  <a:schemeClr val="accent5">
                    <a:lumMod val="50000"/>
                  </a:schemeClr>
                </a:solidFill>
              </a:rPr>
              <a:t>Animal production </a:t>
            </a:r>
            <a:endParaRPr lang="en-GB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E0FF0889-3DA9-4826-A04E-4A4BD4C04CA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02949" y="3519243"/>
            <a:ext cx="2951562" cy="160856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Annual growth of livestock by 16.25% between 2014 and 201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Increase of fish farming with an annual output from 100 tons of fish in 2010 to 2,400 tons of fish in 2018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Growth in exports of fresh fish (284%), smoked fish (163.5%) and dried fish (153.3%) between 2012 and 2018</a:t>
            </a:r>
          </a:p>
        </p:txBody>
      </p:sp>
      <p:sp>
        <p:nvSpPr>
          <p:cNvPr id="19" name="Text Placeholder 39">
            <a:extLst>
              <a:ext uri="{FF2B5EF4-FFF2-40B4-BE49-F238E27FC236}">
                <a16:creationId xmlns:a16="http://schemas.microsoft.com/office/drawing/2014/main" id="{505F699C-4B66-4DBB-B943-8C51899CBA97}"/>
              </a:ext>
            </a:extLst>
          </p:cNvPr>
          <p:cNvSpPr txBox="1">
            <a:spLocks/>
          </p:cNvSpPr>
          <p:nvPr/>
        </p:nvSpPr>
        <p:spPr>
          <a:xfrm>
            <a:off x="3228232" y="3123854"/>
            <a:ext cx="2820761" cy="3345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Animal </a:t>
            </a:r>
            <a:r>
              <a:rPr lang="fr-FR" dirty="0" err="1"/>
              <a:t>health</a:t>
            </a:r>
            <a:r>
              <a:rPr lang="fr-FR" dirty="0"/>
              <a:t> &amp; public</a:t>
            </a:r>
            <a:endParaRPr lang="en-GB" dirty="0"/>
          </a:p>
        </p:txBody>
      </p:sp>
      <p:sp>
        <p:nvSpPr>
          <p:cNvPr id="20" name="Text Placeholder 42">
            <a:extLst>
              <a:ext uri="{FF2B5EF4-FFF2-40B4-BE49-F238E27FC236}">
                <a16:creationId xmlns:a16="http://schemas.microsoft.com/office/drawing/2014/main" id="{C0DAAFE9-A800-45AE-A564-B17D39D93460}"/>
              </a:ext>
            </a:extLst>
          </p:cNvPr>
          <p:cNvSpPr txBox="1">
            <a:spLocks/>
          </p:cNvSpPr>
          <p:nvPr/>
        </p:nvSpPr>
        <p:spPr>
          <a:xfrm>
            <a:off x="3159597" y="3519243"/>
            <a:ext cx="2958033" cy="13161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IN" dirty="0"/>
              <a:t>Rehabilitation of the veterinary diagnostic laboratory (USAID &amp; FAO support) 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IN" dirty="0"/>
              <a:t>Construction of 4 regional laboratories in progress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IN" dirty="0"/>
              <a:t>Renovation and equipment of the Livestock Farming Support and Demonstration </a:t>
            </a:r>
            <a:r>
              <a:rPr lang="en-IN" dirty="0" err="1"/>
              <a:t>centers</a:t>
            </a:r>
            <a:r>
              <a:rPr lang="en-IN" dirty="0"/>
              <a:t> in </a:t>
            </a:r>
            <a:r>
              <a:rPr lang="en-IN" dirty="0" err="1"/>
              <a:t>Boké</a:t>
            </a:r>
            <a:r>
              <a:rPr lang="en-IN" dirty="0"/>
              <a:t> and </a:t>
            </a:r>
            <a:r>
              <a:rPr lang="en-IN" dirty="0" err="1"/>
              <a:t>Famoïla</a:t>
            </a:r>
            <a:r>
              <a:rPr lang="en-IN" dirty="0"/>
              <a:t>  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IN" dirty="0"/>
              <a:t>Construction in </a:t>
            </a:r>
            <a:r>
              <a:rPr lang="en-IN" dirty="0" err="1"/>
              <a:t>Kouria</a:t>
            </a:r>
            <a:r>
              <a:rPr lang="en-IN" dirty="0"/>
              <a:t> of a laboratory meeting international standards (support of the World Bank REDISSE Project).</a:t>
            </a:r>
          </a:p>
        </p:txBody>
      </p:sp>
      <p:pic>
        <p:nvPicPr>
          <p:cNvPr id="23567" name="Picture 15" descr="https://encrypted-tbn0.gstatic.com/images?q=tbn:ANd9GcSfzH2lN-RLOrJt0an6XJCb4lLR_p9UxHgzT8iHVdzIBzGsRzaK">
            <a:extLst>
              <a:ext uri="{FF2B5EF4-FFF2-40B4-BE49-F238E27FC236}">
                <a16:creationId xmlns:a16="http://schemas.microsoft.com/office/drawing/2014/main" id="{1D37BF08-E8A0-4C29-ADFE-EB63405683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778" y="1140793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5ADEB2F-6250-4A10-9769-DD68CB28B49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784" t="3981" r="3179" b="18806"/>
          <a:stretch/>
        </p:blipFill>
        <p:spPr>
          <a:xfrm>
            <a:off x="6877778" y="933795"/>
            <a:ext cx="1681190" cy="2007083"/>
          </a:xfrm>
          <a:prstGeom prst="rect">
            <a:avLst/>
          </a:prstGeom>
        </p:spPr>
      </p:pic>
      <p:pic>
        <p:nvPicPr>
          <p:cNvPr id="23571" name="Picture 19" descr="http://www.commodafrica.com/sites/commodafrica.com/files/oie.jpg">
            <a:extLst>
              <a:ext uri="{FF2B5EF4-FFF2-40B4-BE49-F238E27FC236}">
                <a16:creationId xmlns:a16="http://schemas.microsoft.com/office/drawing/2014/main" id="{FF1A78AF-318D-41D4-8CE0-77E0C440DD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6364" y="1125774"/>
            <a:ext cx="2132429" cy="1780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73" name="Picture 21" descr="http://s1.lprs1.fr/images/2016/10/10/6191445_205f19f93743f0f046b3f00cf7be1c0473847e95_1000x625.jpg">
            <a:extLst>
              <a:ext uri="{FF2B5EF4-FFF2-40B4-BE49-F238E27FC236}">
                <a16:creationId xmlns:a16="http://schemas.microsoft.com/office/drawing/2014/main" id="{6F816B1B-7494-454E-BC57-C3467D16CE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5989" y="1204625"/>
            <a:ext cx="2686788" cy="1679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20640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31B2395-D78E-4A35-A8CE-2A7D48DFEE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31B2395-D78E-4A35-A8CE-2A7D48DFEE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BA58C5-0405-4C5D-AE9A-D355767D34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2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FAFA63-EF73-4268-8107-6CD20923D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00" y="349524"/>
            <a:ext cx="11174186" cy="535531"/>
          </a:xfrm>
        </p:spPr>
        <p:txBody>
          <a:bodyPr/>
          <a:lstStyle/>
          <a:p>
            <a:r>
              <a:rPr lang="en-IN" sz="3200" dirty="0"/>
              <a:t>Presidential Initiatives for Rural Development</a:t>
            </a:r>
            <a:endParaRPr lang="fr-FR" sz="3200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AC4CB2C1-7DE3-44DC-A4F5-55C9466AE9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73686" y="1017085"/>
            <a:ext cx="2820761" cy="334508"/>
          </a:xfrm>
        </p:spPr>
        <p:txBody>
          <a:bodyPr/>
          <a:lstStyle/>
          <a:p>
            <a:r>
              <a:rPr lang="fr-FR" dirty="0" err="1"/>
              <a:t>Fishing</a:t>
            </a:r>
            <a:r>
              <a:rPr lang="fr-FR" dirty="0"/>
              <a:t> and aquaculture </a:t>
            </a:r>
            <a:endParaRPr lang="en-GB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78932DB0-2733-4BAD-BB5D-9536D20E09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47195" y="1017085"/>
            <a:ext cx="2820761" cy="334508"/>
          </a:xfrm>
        </p:spPr>
        <p:txBody>
          <a:bodyPr/>
          <a:lstStyle/>
          <a:p>
            <a:r>
              <a:rPr lang="fr-FR" dirty="0" err="1"/>
              <a:t>Livestock</a:t>
            </a:r>
            <a:r>
              <a:rPr lang="fr-FR" dirty="0"/>
              <a:t> </a:t>
            </a:r>
            <a:r>
              <a:rPr lang="fr-FR" dirty="0" err="1"/>
              <a:t>breeding</a:t>
            </a:r>
            <a:endParaRPr lang="en-GB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6FB540F0-2ABD-4D9C-AA51-A68864DD78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5725" y="1483623"/>
            <a:ext cx="2684462" cy="1496898"/>
          </a:xfrm>
        </p:spPr>
        <p:txBody>
          <a:bodyPr/>
          <a:lstStyle/>
          <a:p>
            <a:r>
              <a:rPr lang="en-IN" dirty="0"/>
              <a:t>Introduction of </a:t>
            </a:r>
            <a:r>
              <a:rPr lang="en-IN" b="1" dirty="0"/>
              <a:t>5,000 </a:t>
            </a:r>
            <a:r>
              <a:rPr lang="en-IN" b="1" dirty="0" err="1"/>
              <a:t>Wassachiè</a:t>
            </a:r>
            <a:r>
              <a:rPr lang="en-IN" b="1" dirty="0"/>
              <a:t> hens from Mali </a:t>
            </a:r>
            <a:r>
              <a:rPr lang="en-IN" dirty="0"/>
              <a:t>in support of 120 general interest groups of young people and women.</a:t>
            </a:r>
          </a:p>
          <a:p>
            <a:r>
              <a:rPr lang="en-IN" dirty="0"/>
              <a:t>Program to </a:t>
            </a:r>
            <a:r>
              <a:rPr lang="en-IN" b="1" dirty="0"/>
              <a:t>supply day-old chicks </a:t>
            </a:r>
            <a:r>
              <a:rPr lang="en-IN" dirty="0"/>
              <a:t>from Côte d'Ivoire to poultry farmers in Forest Guinea. </a:t>
            </a:r>
          </a:p>
          <a:p>
            <a:r>
              <a:rPr lang="en-IN" b="1" dirty="0"/>
              <a:t>Feed Improvement Program</a:t>
            </a:r>
            <a:r>
              <a:rPr lang="en-IN" dirty="0"/>
              <a:t>: consists in the construction of two feed plants through the private sector.</a:t>
            </a:r>
          </a:p>
        </p:txBody>
      </p:sp>
      <p:sp>
        <p:nvSpPr>
          <p:cNvPr id="20" name="Text Placeholder 42">
            <a:extLst>
              <a:ext uri="{FF2B5EF4-FFF2-40B4-BE49-F238E27FC236}">
                <a16:creationId xmlns:a16="http://schemas.microsoft.com/office/drawing/2014/main" id="{C0DAAFE9-A800-45AE-A564-B17D39D93460}"/>
              </a:ext>
            </a:extLst>
          </p:cNvPr>
          <p:cNvSpPr txBox="1">
            <a:spLocks/>
          </p:cNvSpPr>
          <p:nvPr/>
        </p:nvSpPr>
        <p:spPr>
          <a:xfrm>
            <a:off x="3161509" y="1483623"/>
            <a:ext cx="2958033" cy="13161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IN" b="1" dirty="0"/>
              <a:t>Fish farming on the high seas. </a:t>
            </a:r>
            <a:r>
              <a:rPr lang="en-IN" dirty="0"/>
              <a:t>This project was initiated in 2018 for the production of marine species in floating cages for export and sale on the national market</a:t>
            </a:r>
          </a:p>
          <a:p>
            <a:pPr lvl="0"/>
            <a:r>
              <a:rPr lang="en-IN" dirty="0"/>
              <a:t>Establishment of a </a:t>
            </a:r>
            <a:r>
              <a:rPr lang="en-IN" b="1" dirty="0"/>
              <a:t>supply </a:t>
            </a:r>
            <a:r>
              <a:rPr lang="en-IN" b="1" dirty="0" err="1"/>
              <a:t>center</a:t>
            </a:r>
            <a:r>
              <a:rPr lang="en-IN" b="1" dirty="0"/>
              <a:t> for fishing inputs</a:t>
            </a:r>
            <a:endParaRPr lang="en-IN" dirty="0"/>
          </a:p>
          <a:p>
            <a:pPr lvl="0"/>
            <a:r>
              <a:rPr lang="en-IN" b="1" dirty="0"/>
              <a:t>Construction of fish processing units </a:t>
            </a:r>
            <a:r>
              <a:rPr lang="en-IN" dirty="0"/>
              <a:t>meeting quality standards;</a:t>
            </a:r>
          </a:p>
          <a:p>
            <a:pPr lvl="0"/>
            <a:r>
              <a:rPr lang="en-IN" dirty="0"/>
              <a:t>Establishment of </a:t>
            </a:r>
            <a:r>
              <a:rPr lang="en-IN" b="1" dirty="0"/>
              <a:t>manufacturing units for packaging materials</a:t>
            </a:r>
            <a:endParaRPr lang="en-IN" dirty="0"/>
          </a:p>
          <a:p>
            <a:pPr lvl="0"/>
            <a:r>
              <a:rPr lang="en-IN" b="1" dirty="0"/>
              <a:t>Stocking ponds/pools/reservoirs with fish </a:t>
            </a:r>
            <a:r>
              <a:rPr lang="en-IN" dirty="0"/>
              <a:t>through Guinea - Côte d’Ivoire cooperation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E3CDF33-9AE2-46DD-95AD-1AF50805E2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1813" y="1483622"/>
            <a:ext cx="2820761" cy="5097313"/>
          </a:xfrm>
        </p:spPr>
        <p:txBody>
          <a:bodyPr/>
          <a:lstStyle/>
          <a:p>
            <a:pPr lvl="0"/>
            <a:r>
              <a:rPr lang="en-IN" dirty="0"/>
              <a:t>Support Project for the </a:t>
            </a:r>
            <a:r>
              <a:rPr lang="en-IN" b="1" dirty="0"/>
              <a:t>Development of Artisanal Fishing</a:t>
            </a:r>
            <a:r>
              <a:rPr lang="en-IN" dirty="0"/>
              <a:t>, which will create 19,500 jobs in 3 years through the shipyard for the construction of fiberglass boats equipped with outboard motors</a:t>
            </a:r>
          </a:p>
          <a:p>
            <a:pPr lvl="0"/>
            <a:r>
              <a:rPr lang="en-IN" dirty="0"/>
              <a:t>Project for the </a:t>
            </a:r>
            <a:r>
              <a:rPr lang="en-IN" b="1" dirty="0"/>
              <a:t>development of shrimp farming </a:t>
            </a:r>
            <a:r>
              <a:rPr lang="en-IN" dirty="0"/>
              <a:t>in the framework of public-private partnerships (Japanese collaboration)</a:t>
            </a:r>
          </a:p>
          <a:p>
            <a:pPr lvl="0"/>
            <a:r>
              <a:rPr lang="en-IN" dirty="0"/>
              <a:t>Construction of </a:t>
            </a:r>
            <a:r>
              <a:rPr lang="en-IN" b="1" dirty="0"/>
              <a:t>fish farming technical </a:t>
            </a:r>
            <a:r>
              <a:rPr lang="en-IN" b="1" dirty="0" err="1"/>
              <a:t>centers</a:t>
            </a:r>
            <a:r>
              <a:rPr lang="en-IN" b="1" dirty="0"/>
              <a:t> </a:t>
            </a:r>
            <a:r>
              <a:rPr lang="en-IN" dirty="0"/>
              <a:t>in the four natural regions: (in PPP with Israelis)</a:t>
            </a:r>
          </a:p>
          <a:p>
            <a:pPr lvl="0"/>
            <a:r>
              <a:rPr lang="en-IN" dirty="0"/>
              <a:t>Start in March 2019 of the </a:t>
            </a:r>
            <a:r>
              <a:rPr lang="en-IN" b="1" dirty="0"/>
              <a:t>Commercial and Family Fish Farming Project</a:t>
            </a:r>
            <a:r>
              <a:rPr lang="en-IN" dirty="0"/>
              <a:t> in 17 prefectures in collaboration with the French Development Agency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4A89587-B5DE-4F82-BD5B-7D10A28CB02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8477" y="1483623"/>
            <a:ext cx="2820761" cy="1496898"/>
          </a:xfrm>
        </p:spPr>
        <p:txBody>
          <a:bodyPr/>
          <a:lstStyle/>
          <a:p>
            <a:r>
              <a:rPr lang="en-IN" b="1" dirty="0"/>
              <a:t>Artificial bovine insemination </a:t>
            </a:r>
            <a:r>
              <a:rPr lang="en-IN" dirty="0"/>
              <a:t>by the introduction of seed of exotic breeds (Guinea-Moroccan cooperation). 10,000 cows will be inseminated in 2019.</a:t>
            </a:r>
          </a:p>
          <a:p>
            <a:r>
              <a:rPr lang="en-IN" b="1" dirty="0"/>
              <a:t>Introduction of 445 exotic purebred pig </a:t>
            </a:r>
            <a:r>
              <a:rPr lang="en-IN" b="1" dirty="0" err="1"/>
              <a:t>spawners</a:t>
            </a:r>
            <a:r>
              <a:rPr lang="en-IN" b="1" dirty="0"/>
              <a:t> </a:t>
            </a:r>
            <a:r>
              <a:rPr lang="en-IN" dirty="0"/>
              <a:t>from Côte d'Ivoire to combat the effects of inbreeding </a:t>
            </a:r>
          </a:p>
          <a:p>
            <a:r>
              <a:rPr lang="en-IN" b="1" dirty="0"/>
              <a:t>Introduction of 300 </a:t>
            </a:r>
            <a:r>
              <a:rPr lang="en-IN" b="1" dirty="0" err="1"/>
              <a:t>Maradi</a:t>
            </a:r>
            <a:r>
              <a:rPr lang="en-IN" b="1" dirty="0"/>
              <a:t> goats from Niger</a:t>
            </a:r>
            <a:r>
              <a:rPr lang="en-IN" dirty="0"/>
              <a:t> to improve the productivity of goat farms in 21 prefectur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3D3FB80-D67A-40C4-B590-DF4FB726C6F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783" b="25969"/>
          <a:stretch/>
        </p:blipFill>
        <p:spPr>
          <a:xfrm>
            <a:off x="8954776" y="5104263"/>
            <a:ext cx="2684462" cy="128373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1397E96-6BD2-421B-89A2-C8A29C29FA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24135" y="5104263"/>
            <a:ext cx="2103523" cy="1476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597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8XXaoJSea6d2a2UbUw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8XXaoJSea6d2a2UbUw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TD4L.SFiG9qfRJrZ5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lelt6QSpeyjqL.UX06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lelt6QSpeyjqL.UX06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TD4L.SFiG9qfRJrZ5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zLIQ1rS2.OepH8R3eR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Ix.hdKTnm7m1X74ZDI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phWtAWQmua6rmAkUm5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8XXaoJSea6d2a2UbUw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TD4L.SFiG9qfRJrZ5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20TN3yQYaeYyJKPfU9wg"/>
</p:tagLst>
</file>

<file path=ppt/theme/theme1.xml><?xml version="1.0" encoding="utf-8"?>
<a:theme xmlns:a="http://schemas.openxmlformats.org/drawingml/2006/main" name="Office Theme">
  <a:themeElements>
    <a:clrScheme name="MSFT_01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01C6FD"/>
      </a:accent1>
      <a:accent2>
        <a:srgbClr val="067F9C"/>
      </a:accent2>
      <a:accent3>
        <a:srgbClr val="014E52"/>
      </a:accent3>
      <a:accent4>
        <a:srgbClr val="ED7D31"/>
      </a:accent4>
      <a:accent5>
        <a:srgbClr val="79AE02"/>
      </a:accent5>
      <a:accent6>
        <a:srgbClr val="0070C0"/>
      </a:accent6>
      <a:hlink>
        <a:srgbClr val="01C6FD"/>
      </a:hlink>
      <a:folHlink>
        <a:srgbClr val="954F72"/>
      </a:folHlink>
    </a:clrScheme>
    <a:fontScheme name="MSFT_0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inimalist_Template_03_CA - v7" id="{215D63C3-B139-4AD7-9F60-51396BC82D2C}" vid="{FAE53EBD-DCD0-4C4A-8B10-EB06EA2364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EA25CC0A0AC24199CDC46C25B8B0BC" ma:contentTypeVersion="10" ma:contentTypeDescription="Create a new document." ma:contentTypeScope="" ma:versionID="e3b47856d4cf355c0dacb39e1084d14f">
  <xsd:schema xmlns:xsd="http://www.w3.org/2001/XMLSchema" xmlns:xs="http://www.w3.org/2001/XMLSchema" xmlns:p="http://schemas.microsoft.com/office/2006/metadata/properties" xmlns:ns1="http://schemas.microsoft.com/sharepoint/v3" xmlns:ns2="6dc4bcd6-49db-4c07-9060-8acfc67cef9f" xmlns:ns3="fb0879af-3eba-417a-a55a-ffe6dcd6ca77" targetNamespace="http://schemas.microsoft.com/office/2006/metadata/properties" ma:root="true" ma:fieldsID="a845a615265fdb1f7b12cc65ac20ecbd" ns1:_="" ns2:_="" ns3:_="">
    <xsd:import namespace="http://schemas.microsoft.com/sharepoint/v3"/>
    <xsd:import namespace="6dc4bcd6-49db-4c07-9060-8acfc67cef9f"/>
    <xsd:import namespace="fb0879af-3eba-417a-a55a-ffe6dcd6ca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1:_ip_UnifiedCompliancePolicyProperties" minOccurs="0"/>
                <xsd:element ref="ns1:_ip_UnifiedCompliancePolicyUIAction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4bcd6-49db-4c07-9060-8acfc67cef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7" nillable="true" ma:displayName="MediaServiceAutoTags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0879af-3eba-417a-a55a-ffe6dcd6ca7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3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4" nillable="true" ma:displayName="Last Shared By Time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50439D9-8631-4FC1-BCE0-1BDB23425EE1}">
  <ds:schemaRefs>
    <ds:schemaRef ds:uri="http://schemas.microsoft.com/office/2006/metadata/properties"/>
    <ds:schemaRef ds:uri="http://schemas.microsoft.com/sharepoint/v3"/>
    <ds:schemaRef ds:uri="http://purl.org/dc/terms/"/>
    <ds:schemaRef ds:uri="6dc4bcd6-49db-4c07-9060-8acfc67cef9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fb0879af-3eba-417a-a55a-ffe6dcd6ca7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7D8A4B1-1036-4F2B-9C1A-A86F68D314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dc4bcd6-49db-4c07-9060-8acfc67cef9f"/>
    <ds:schemaRef ds:uri="fb0879af-3eba-417a-a55a-ffe6dcd6ca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23BE856-B6C2-4675-AE16-47A27D415D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cean presentation</Template>
  <TotalTime>0</TotalTime>
  <Words>722</Words>
  <Application>Microsoft Office PowerPoint</Application>
  <PresentationFormat>Widescreen</PresentationFormat>
  <Paragraphs>91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Century Gothic</vt:lpstr>
      <vt:lpstr>Wingdings</vt:lpstr>
      <vt:lpstr>Office Theme</vt:lpstr>
      <vt:lpstr>think-cell Slide</vt:lpstr>
      <vt:lpstr>Invest in livestock and fishing</vt:lpstr>
      <vt:lpstr>Plan</vt:lpstr>
      <vt:lpstr>General presentation</vt:lpstr>
      <vt:lpstr>General presentation</vt:lpstr>
      <vt:lpstr>Abundant animal and fisheries resources</vt:lpstr>
      <vt:lpstr>Abundant animal and fisheries resources</vt:lpstr>
      <vt:lpstr>Reforms underway</vt:lpstr>
      <vt:lpstr>Ambitious reforms</vt:lpstr>
      <vt:lpstr>Presidential Initiatives for Rural Development</vt:lpstr>
      <vt:lpstr>Investment opportunities</vt:lpstr>
      <vt:lpstr>Investment opportunities</vt:lpstr>
      <vt:lpstr>Thank you for  your atten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2-23T12:49:18Z</dcterms:created>
  <dcterms:modified xsi:type="dcterms:W3CDTF">2019-05-22T13:3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EA25CC0A0AC24199CDC46C25B8B0BC</vt:lpwstr>
  </property>
</Properties>
</file>